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0" r:id="rId2"/>
  </p:sldMasterIdLst>
  <p:sldIdLst>
    <p:sldId id="305" r:id="rId3"/>
    <p:sldId id="265" r:id="rId4"/>
    <p:sldId id="267" r:id="rId5"/>
    <p:sldId id="266" r:id="rId6"/>
    <p:sldId id="268" r:id="rId7"/>
    <p:sldId id="269" r:id="rId8"/>
    <p:sldId id="270" r:id="rId9"/>
    <p:sldId id="271" r:id="rId10"/>
    <p:sldId id="272" r:id="rId11"/>
    <p:sldId id="273" r:id="rId12"/>
    <p:sldId id="274" r:id="rId13"/>
    <p:sldId id="275" r:id="rId14"/>
    <p:sldId id="313" r:id="rId15"/>
    <p:sldId id="276" r:id="rId16"/>
    <p:sldId id="277" r:id="rId17"/>
    <p:sldId id="257" r:id="rId18"/>
    <p:sldId id="259" r:id="rId19"/>
    <p:sldId id="260" r:id="rId20"/>
    <p:sldId id="308" r:id="rId21"/>
    <p:sldId id="261" r:id="rId22"/>
    <p:sldId id="262" r:id="rId23"/>
    <p:sldId id="309" r:id="rId24"/>
    <p:sldId id="310" r:id="rId25"/>
    <p:sldId id="311" r:id="rId26"/>
    <p:sldId id="312" r:id="rId27"/>
    <p:sldId id="258" r:id="rId28"/>
    <p:sldId id="263" r:id="rId29"/>
    <p:sldId id="279" r:id="rId30"/>
    <p:sldId id="280" r:id="rId31"/>
    <p:sldId id="264" r:id="rId32"/>
    <p:sldId id="278" r:id="rId33"/>
    <p:sldId id="281" r:id="rId34"/>
    <p:sldId id="282" r:id="rId35"/>
    <p:sldId id="283" r:id="rId36"/>
    <p:sldId id="284" r:id="rId37"/>
    <p:sldId id="285" r:id="rId38"/>
    <p:sldId id="286" r:id="rId39"/>
    <p:sldId id="306" r:id="rId40"/>
    <p:sldId id="288" r:id="rId41"/>
    <p:sldId id="289" r:id="rId42"/>
    <p:sldId id="290" r:id="rId43"/>
    <p:sldId id="291" r:id="rId44"/>
    <p:sldId id="307" r:id="rId45"/>
    <p:sldId id="304" r:id="rId4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400C2A-FA18-41C8-9569-F9F1DF87B4FB}" v="403" dt="2023-05-30T13:05:01.7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581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microsoft.com/office/2015/10/relationships/revisionInfo" Target="revisionInfo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78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798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83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881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50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229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441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624437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184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3057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80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204120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034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831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4760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22592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9509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14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4047634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46645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501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449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9877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31997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6951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816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2801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34189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1457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05837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76387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40386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66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F727919-C765-8773-822A-47A011476A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36" y="3509962"/>
            <a:ext cx="2474964" cy="36528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370171-E795-6A4C-378E-DB8E405E9C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550" y="-60960"/>
            <a:ext cx="8258939" cy="698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852C3D-5442-9339-50B5-57D94AF5E6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0892" y="853123"/>
            <a:ext cx="7152028" cy="2387600"/>
          </a:xfrm>
        </p:spPr>
        <p:txBody>
          <a:bodyPr anchor="b"/>
          <a:lstStyle>
            <a:lvl1pPr algn="ctr">
              <a:defRPr sz="6000">
                <a:solidFill>
                  <a:srgbClr val="65B34B"/>
                </a:solidFill>
                <a:latin typeface="Possum Saltare NF" panose="020A06030303010201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43D813-C9E7-0253-B9AB-175804948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0892" y="3332798"/>
            <a:ext cx="715202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1353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3DC51-BC50-5AB0-03DB-FC1F2EBE4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08194-22DB-2E7F-77D6-D8DC91DD95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3845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18504-353E-9C83-BAAD-30CEFCD75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C4FD1-2806-FC59-5E3A-61E031ECA7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7514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31080-2F46-5778-74C3-6FA333736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E4F94-DD48-8D66-9123-44DE0A49B2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18BA22-C276-416D-8477-E61FB0B9ED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64696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D695F-B0D5-D7E2-A5E1-EE8CA1C00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61E04-B955-045C-CD6C-2FD1CCCA0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6A4B8F-FB3A-7EEA-2462-CFE690CA0E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A25000-80C5-53C8-0AB4-0721A3A820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9C5F8B-BF3B-4FCB-E245-A856B2936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6374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C6BC-9E2B-DDC0-16AA-DEFB00ED2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19112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643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927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734911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9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6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5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2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60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5AF36B0-8614-C949-A0DA-EC52B91284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4274"/>
          <a:stretch/>
        </p:blipFill>
        <p:spPr>
          <a:xfrm>
            <a:off x="-64008" y="-54864"/>
            <a:ext cx="12323064" cy="697382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D9C7FD-1C53-13F4-D0EF-52D46E651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829009-BF90-2012-83AD-40C7DEDD8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55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gif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5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cosmos-db/synapse-link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ynapse-analytics-blog/optimize-database-schema-in-serverless-sql-pools-using-qpi/ba-p/3252140" TargetMode="External"/><Relationship Id="rId2" Type="http://schemas.openxmlformats.org/officeDocument/2006/relationships/hyperlink" Target="https://techcommunity.microsoft.com/t5/azure-synapse-analytics-blog/best-practices-for-integrating-serverless-sql-pool-with-cosmos/ba-p/3257975" TargetMode="Externa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community.microsoft.com/t5/azure-data-factory-blog/capture-changed-data-from-your-cosmos-db-analytical-store/ba-p/3783530" TargetMode="External"/><Relationship Id="rId3" Type="http://schemas.openxmlformats.org/officeDocument/2006/relationships/hyperlink" Target="https://www.mssqltips.com/sqlservertip/7656/azure-cosmos-db-cosmicworks-sample-database-installation/?utm_source=KoenVerbeeck" TargetMode="External"/><Relationship Id="rId7" Type="http://schemas.openxmlformats.org/officeDocument/2006/relationships/hyperlink" Target="https://cosmosdownunder.com/podcast/" TargetMode="External"/><Relationship Id="rId2" Type="http://schemas.openxmlformats.org/officeDocument/2006/relationships/hyperlink" Target="https://learn.microsoft.com/en-us/certifications/exams/dp-420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youtube.com/watch?v=4Yq8SuXuocU" TargetMode="External"/><Relationship Id="rId5" Type="http://schemas.openxmlformats.org/officeDocument/2006/relationships/hyperlink" Target="https://www.mssqltips.com/sqlservertip/7509/azure-synapse-link-query-azure-cosmos-db-data-with-synapse-serverless/" TargetMode="External"/><Relationship Id="rId4" Type="http://schemas.openxmlformats.org/officeDocument/2006/relationships/hyperlink" Target="https://learn.microsoft.com/en-us/azure/cosmos-db/analytical-store-introduction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E8B3B-2377-23B5-78F9-0DF9438B0F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dirty="0"/>
              <a:t>Analyzing Azure Cosmos DB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C388A0-B349-9026-CA13-06346D88DE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800" dirty="0"/>
              <a:t>With Azure Synapse Link (&amp; others)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402047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4F2C4-3249-7082-8B75-D4A3C6343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tion ke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FC1565-2F85-FCA7-1761-D3D5BD884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86" y="1689421"/>
            <a:ext cx="6495994" cy="25932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C10B76-C33C-228A-908A-39CD87D8C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3708" y="3429000"/>
            <a:ext cx="7438292" cy="3429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89ACB2-2D15-4287-E5E7-9FF20BE26280}"/>
              </a:ext>
            </a:extLst>
          </p:cNvPr>
          <p:cNvSpPr txBox="1"/>
          <p:nvPr/>
        </p:nvSpPr>
        <p:spPr>
          <a:xfrm>
            <a:off x="2187616" y="1813"/>
            <a:ext cx="10004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mplement-non-relational-data-model/6-choose-partition-key</a:t>
            </a:r>
          </a:p>
        </p:txBody>
      </p:sp>
    </p:spTree>
    <p:extLst>
      <p:ext uri="{BB962C8B-B14F-4D97-AF65-F5344CB8AC3E}">
        <p14:creationId xmlns:p14="http://schemas.microsoft.com/office/powerpoint/2010/main" val="125886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23682C-D420-2317-7DE3-1CEF04A80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in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FBD8C-013F-8DC6-CDD0-9E136908B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9263"/>
            <a:ext cx="12192000" cy="53787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744B6C-69DE-D498-1700-53E86E2A48DF}"/>
              </a:ext>
            </a:extLst>
          </p:cNvPr>
          <p:cNvSpPr txBox="1"/>
          <p:nvPr/>
        </p:nvSpPr>
        <p:spPr>
          <a:xfrm>
            <a:off x="2141316" y="1813"/>
            <a:ext cx="10050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define-indexes-azure-cosmos-db-sql-api/2-understand-indexes</a:t>
            </a:r>
          </a:p>
        </p:txBody>
      </p:sp>
    </p:spTree>
    <p:extLst>
      <p:ext uri="{BB962C8B-B14F-4D97-AF65-F5344CB8AC3E}">
        <p14:creationId xmlns:p14="http://schemas.microsoft.com/office/powerpoint/2010/main" val="249100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848AB-5A7D-015F-3D18-33360729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ing polic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50E658-FB36-3A4B-1C22-B9E7634F11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27" b="-1"/>
          <a:stretch/>
        </p:blipFill>
        <p:spPr>
          <a:xfrm>
            <a:off x="1018515" y="1932972"/>
            <a:ext cx="4064934" cy="35881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50A90E-F92A-D350-AFCA-530B565194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5341" y="1932972"/>
            <a:ext cx="4064934" cy="4335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6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BA5C4-7CC9-5862-6AD2-66D0DF241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feed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ECA21E-9FB7-5219-0E27-6EF98ADCD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1026" name="Picture 2" descr="Serverless event-based Functions working with the Azure Functions trigger for Azure Cosmos DB">
            <a:extLst>
              <a:ext uri="{FF2B5EF4-FFF2-40B4-BE49-F238E27FC236}">
                <a16:creationId xmlns:a16="http://schemas.microsoft.com/office/drawing/2014/main" id="{C48D5500-5477-BEA2-1301-89C9F6AEA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132" y="1457011"/>
            <a:ext cx="8886825" cy="500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0462F58-B6E2-B1D6-749F-C2CC371C19BE}"/>
              </a:ext>
            </a:extLst>
          </p:cNvPr>
          <p:cNvSpPr txBox="1"/>
          <p:nvPr/>
        </p:nvSpPr>
        <p:spPr>
          <a:xfrm>
            <a:off x="0" y="6440000"/>
            <a:ext cx="94708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/>
              <a:t>https://learn.microsoft.com/en-us/azure/cosmos-db/nosql/change-feed-functions</a:t>
            </a:r>
          </a:p>
        </p:txBody>
      </p:sp>
    </p:spTree>
    <p:extLst>
      <p:ext uri="{BB962C8B-B14F-4D97-AF65-F5344CB8AC3E}">
        <p14:creationId xmlns:p14="http://schemas.microsoft.com/office/powerpoint/2010/main" val="790135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7E0BF6-0D7E-EF2F-5D58-C3A548970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cin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3E3109-E186-2285-FFE2-6E1EA8617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20" y="1542887"/>
            <a:ext cx="9543187" cy="45685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DD342F9-A2D9-9AF1-548E-E5B8523062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500" y="0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21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5D721-C059-5BC2-09E3-906DBD77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se case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053FE2-AD4D-C0F4-C6C9-42C14649B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117" y="1325674"/>
            <a:ext cx="1598971" cy="1465723"/>
          </a:xfrm>
          <a:prstGeom prst="rect">
            <a:avLst/>
          </a:prstGeom>
        </p:spPr>
      </p:pic>
      <p:pic>
        <p:nvPicPr>
          <p:cNvPr id="1026" name="Picture 2" descr="Container free icon">
            <a:extLst>
              <a:ext uri="{FF2B5EF4-FFF2-40B4-BE49-F238E27FC236}">
                <a16:creationId xmlns:a16="http://schemas.microsoft.com/office/drawing/2014/main" id="{49E3E291-8116-6FCC-19DC-D608E4186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2566007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ontainer free icon">
            <a:extLst>
              <a:ext uri="{FF2B5EF4-FFF2-40B4-BE49-F238E27FC236}">
                <a16:creationId xmlns:a16="http://schemas.microsoft.com/office/drawing/2014/main" id="{85A3D76E-3D7D-194B-66C6-6B0707B5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3622974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ontainer free icon">
            <a:extLst>
              <a:ext uri="{FF2B5EF4-FFF2-40B4-BE49-F238E27FC236}">
                <a16:creationId xmlns:a16="http://schemas.microsoft.com/office/drawing/2014/main" id="{E7C305B7-9C2B-70A4-70FD-CF36611D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4679941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81E438-D1FF-9C46-4B44-F28DA18EAA03}"/>
              </a:ext>
            </a:extLst>
          </p:cNvPr>
          <p:cNvSpPr txBox="1"/>
          <p:nvPr/>
        </p:nvSpPr>
        <p:spPr>
          <a:xfrm>
            <a:off x="3947585" y="3438308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A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09CBD-F3EA-8861-751D-E6E2286DB576}"/>
              </a:ext>
            </a:extLst>
          </p:cNvPr>
          <p:cNvSpPr txBox="1"/>
          <p:nvPr/>
        </p:nvSpPr>
        <p:spPr>
          <a:xfrm>
            <a:off x="3947585" y="4495275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B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43110-F8BF-9244-1EFC-D63540EE0FC1}"/>
              </a:ext>
            </a:extLst>
          </p:cNvPr>
          <p:cNvSpPr txBox="1"/>
          <p:nvPr/>
        </p:nvSpPr>
        <p:spPr>
          <a:xfrm>
            <a:off x="3947585" y="5552242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C</a:t>
            </a:r>
            <a:endParaRPr lang="nl-BE" dirty="0"/>
          </a:p>
        </p:txBody>
      </p:sp>
      <p:pic>
        <p:nvPicPr>
          <p:cNvPr id="1028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22246D64-56FA-6463-C9A2-A75612F3A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3492205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8EA490C1-C2A3-7458-1101-E6898B6D5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420134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0645F610-FE3C-E3F7-DB18-4360E1B4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4930202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170EEFF4-F030-3D35-F075-B7FF6C302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565905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CB7373-81AF-1225-1741-6FFDDEA5F59C}"/>
              </a:ext>
            </a:extLst>
          </p:cNvPr>
          <p:cNvCxnSpPr>
            <a:stCxn id="1028" idx="3"/>
            <a:endCxn id="1026" idx="1"/>
          </p:cNvCxnSpPr>
          <p:nvPr/>
        </p:nvCxnSpPr>
        <p:spPr>
          <a:xfrm flipV="1">
            <a:off x="1433328" y="3136278"/>
            <a:ext cx="2514257" cy="7142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9688FEC-A0BE-BB17-E5FB-C3597E502BB0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 flipV="1">
            <a:off x="1791661" y="4193245"/>
            <a:ext cx="2155924" cy="36643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CC0F771-FA89-8459-C5D2-D1AD19389377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 flipV="1">
            <a:off x="1433328" y="5250212"/>
            <a:ext cx="2514257" cy="3832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53C5860-7A00-92D0-3971-0EAABB00D7AC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1791661" y="5250212"/>
            <a:ext cx="2155924" cy="7671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C2FD7E9-1B3D-553E-368E-4EE99405E447}"/>
              </a:ext>
            </a:extLst>
          </p:cNvPr>
          <p:cNvCxnSpPr>
            <a:cxnSpLocks/>
          </p:cNvCxnSpPr>
          <p:nvPr/>
        </p:nvCxnSpPr>
        <p:spPr>
          <a:xfrm flipV="1">
            <a:off x="5825172" y="3655445"/>
            <a:ext cx="1255308" cy="70104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107867-74E5-F839-26FF-3E6F276A2F40}"/>
              </a:ext>
            </a:extLst>
          </p:cNvPr>
          <p:cNvSpPr txBox="1"/>
          <p:nvPr/>
        </p:nvSpPr>
        <p:spPr>
          <a:xfrm>
            <a:off x="4517856" y="6091829"/>
            <a:ext cx="7677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ow are we going to query this data?</a:t>
            </a:r>
            <a:endParaRPr lang="nl-BE" sz="3200" dirty="0">
              <a:solidFill>
                <a:schemeClr val="accent1"/>
              </a:solidFill>
            </a:endParaRPr>
          </a:p>
        </p:txBody>
      </p:sp>
      <p:pic>
        <p:nvPicPr>
          <p:cNvPr id="17" name="Picture 16" descr="Question Cat">
            <a:extLst>
              <a:ext uri="{FF2B5EF4-FFF2-40B4-BE49-F238E27FC236}">
                <a16:creationId xmlns:a16="http://schemas.microsoft.com/office/drawing/2014/main" id="{33EDAC58-D264-EE6A-12AA-60E5C4BF53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051" y="904999"/>
            <a:ext cx="4376449" cy="4376449"/>
          </a:xfrm>
          <a:prstGeom prst="rect">
            <a:avLst/>
          </a:prstGeom>
        </p:spPr>
      </p:pic>
      <p:sp>
        <p:nvSpPr>
          <p:cNvPr id="19" name="Right Brace 18">
            <a:extLst>
              <a:ext uri="{FF2B5EF4-FFF2-40B4-BE49-F238E27FC236}">
                <a16:creationId xmlns:a16="http://schemas.microsoft.com/office/drawing/2014/main" id="{6362849F-5EE9-A8FF-EFDA-E6914D7290A6}"/>
              </a:ext>
            </a:extLst>
          </p:cNvPr>
          <p:cNvSpPr/>
          <p:nvPr/>
        </p:nvSpPr>
        <p:spPr>
          <a:xfrm>
            <a:off x="5469999" y="2976063"/>
            <a:ext cx="244249" cy="2760845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795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6FA157-D1AA-6472-48AC-65754CF98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al store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F45ED6-44C8-2F7C-14A6-D26B6D674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9205" y="1667054"/>
            <a:ext cx="9693590" cy="4062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DDF6E42-A93F-A823-4616-FCF2F4AFD030}"/>
              </a:ext>
            </a:extLst>
          </p:cNvPr>
          <p:cNvSpPr txBox="1"/>
          <p:nvPr/>
        </p:nvSpPr>
        <p:spPr>
          <a:xfrm>
            <a:off x="1249205" y="6375723"/>
            <a:ext cx="7994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What is Azure Synapse Link for Azure Cosmos DB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8034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9F281-597E-B047-BD4D-2AFE32AA0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able analytical store</a:t>
            </a:r>
            <a:endParaRPr lang="nl-BE" dirty="0"/>
          </a:p>
        </p:txBody>
      </p:sp>
      <p:pic>
        <p:nvPicPr>
          <p:cNvPr id="4" name="Picture 3" descr="create new container, with analytical store not yet enabled">
            <a:extLst>
              <a:ext uri="{FF2B5EF4-FFF2-40B4-BE49-F238E27FC236}">
                <a16:creationId xmlns:a16="http://schemas.microsoft.com/office/drawing/2014/main" id="{E4A98A60-DEE6-144B-7954-36D7431B0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474" y="1410150"/>
            <a:ext cx="2971800" cy="4892040"/>
          </a:xfrm>
          <a:prstGeom prst="rect">
            <a:avLst/>
          </a:prstGeom>
        </p:spPr>
      </p:pic>
      <p:pic>
        <p:nvPicPr>
          <p:cNvPr id="5" name="Picture 4" descr="enable analytical store from data explorer">
            <a:extLst>
              <a:ext uri="{FF2B5EF4-FFF2-40B4-BE49-F238E27FC236}">
                <a16:creationId xmlns:a16="http://schemas.microsoft.com/office/drawing/2014/main" id="{E597C236-139F-BDE1-86CE-AEE97D8F38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70" y="1410150"/>
            <a:ext cx="3040347" cy="2954733"/>
          </a:xfrm>
          <a:prstGeom prst="rect">
            <a:avLst/>
          </a:prstGeom>
        </p:spPr>
      </p:pic>
      <p:pic>
        <p:nvPicPr>
          <p:cNvPr id="6" name="Picture 5" descr="synapse link menu item">
            <a:extLst>
              <a:ext uri="{FF2B5EF4-FFF2-40B4-BE49-F238E27FC236}">
                <a16:creationId xmlns:a16="http://schemas.microsoft.com/office/drawing/2014/main" id="{CE293C37-C176-AE0B-0A46-2B6C33B9A5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70" y="4687378"/>
            <a:ext cx="2232418" cy="1641484"/>
          </a:xfrm>
          <a:prstGeom prst="rect">
            <a:avLst/>
          </a:prstGeom>
        </p:spPr>
      </p:pic>
      <p:pic>
        <p:nvPicPr>
          <p:cNvPr id="7" name="Content Placeholder 6" descr="enable synapse link for cosmos db account">
            <a:extLst>
              <a:ext uri="{FF2B5EF4-FFF2-40B4-BE49-F238E27FC236}">
                <a16:creationId xmlns:a16="http://schemas.microsoft.com/office/drawing/2014/main" id="{9924B196-0A7F-8481-89DA-85A98F88B9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858731" y="1410150"/>
            <a:ext cx="4953429" cy="1851820"/>
          </a:xfrm>
          <a:prstGeom prst="rect">
            <a:avLst/>
          </a:prstGeom>
        </p:spPr>
      </p:pic>
      <p:pic>
        <p:nvPicPr>
          <p:cNvPr id="8" name="Picture 7" descr="choose for which containers you want to enable the analytical store">
            <a:extLst>
              <a:ext uri="{FF2B5EF4-FFF2-40B4-BE49-F238E27FC236}">
                <a16:creationId xmlns:a16="http://schemas.microsoft.com/office/drawing/2014/main" id="{1F9980E6-9C56-39F0-D4EC-E456213FFB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8731" y="3429000"/>
            <a:ext cx="5287542" cy="330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38A42-A3FD-56B1-9F35-00F3851D6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to external data</a:t>
            </a:r>
            <a:endParaRPr lang="nl-BE" dirty="0"/>
          </a:p>
        </p:txBody>
      </p:sp>
      <p:pic>
        <p:nvPicPr>
          <p:cNvPr id="4" name="Picture 3" descr="connect to external data step 1">
            <a:extLst>
              <a:ext uri="{FF2B5EF4-FFF2-40B4-BE49-F238E27FC236}">
                <a16:creationId xmlns:a16="http://schemas.microsoft.com/office/drawing/2014/main" id="{D922CD61-CF51-5A87-1C9A-9ACDD3FCC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0756"/>
            <a:ext cx="4800600" cy="3230880"/>
          </a:xfrm>
          <a:prstGeom prst="rect">
            <a:avLst/>
          </a:prstGeom>
        </p:spPr>
      </p:pic>
      <p:pic>
        <p:nvPicPr>
          <p:cNvPr id="5" name="Picture 4" descr="linked service for cosmos DB">
            <a:extLst>
              <a:ext uri="{FF2B5EF4-FFF2-40B4-BE49-F238E27FC236}">
                <a16:creationId xmlns:a16="http://schemas.microsoft.com/office/drawing/2014/main" id="{70B18FE6-FAD9-EBC7-35CF-ECE1EFBBD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2727" y="1530756"/>
            <a:ext cx="4389120" cy="515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2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A4426-8688-908E-7238-10F4A8463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SQL pool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5ECED-C9DA-FB30-70E5-45CFCAB8AE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680" y="3733800"/>
            <a:ext cx="10376120" cy="34699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DD98E29-02AF-D294-ADE2-2E25EC90A950}"/>
              </a:ext>
            </a:extLst>
          </p:cNvPr>
          <p:cNvSpPr/>
          <p:nvPr/>
        </p:nvSpPr>
        <p:spPr>
          <a:xfrm>
            <a:off x="6783882" y="4211320"/>
            <a:ext cx="461331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7B82B4-2696-F6E9-10EE-A901DAC6D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680" y="1325541"/>
            <a:ext cx="6751905" cy="217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954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6051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58722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35939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501486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425585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433000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2050" name="Picture 2" descr="Microsoft Certified: Azure Cosmos DB Developer Specialty badge image. Issued by Microsoft">
            <a:extLst>
              <a:ext uri="{FF2B5EF4-FFF2-40B4-BE49-F238E27FC236}">
                <a16:creationId xmlns:a16="http://schemas.microsoft.com/office/drawing/2014/main" id="{B0646054-5A70-256C-770B-35414A52D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972" y="1378834"/>
            <a:ext cx="2050166" cy="20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D2C93DC1-82B1-57AC-8ADE-65CBBC98F1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496" y="3957637"/>
            <a:ext cx="2900363" cy="29003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2028822" y="3415747"/>
            <a:ext cx="52339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b="0" i="0" dirty="0">
                <a:effectLst/>
                <a:latin typeface="mastodon-font-sans-serif"/>
              </a:rPr>
              <a:t>@koen@dataplatform.social</a:t>
            </a:r>
            <a:endParaRPr kumimoji="0" lang="en-CA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 descr="Mastodon icon in Windows 10 Style">
            <a:extLst>
              <a:ext uri="{FF2B5EF4-FFF2-40B4-BE49-F238E27FC236}">
                <a16:creationId xmlns:a16="http://schemas.microsoft.com/office/drawing/2014/main" id="{C517FCBF-BD3E-25F5-3436-70330B07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3" y="3136932"/>
            <a:ext cx="1121984" cy="112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EB959-250B-1D54-C1B6-BEF39CC4E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credential</a:t>
            </a:r>
            <a:endParaRPr lang="nl-BE" dirty="0"/>
          </a:p>
        </p:txBody>
      </p:sp>
      <p:pic>
        <p:nvPicPr>
          <p:cNvPr id="4" name="Picture 3" descr="generate script for top 100 rows">
            <a:extLst>
              <a:ext uri="{FF2B5EF4-FFF2-40B4-BE49-F238E27FC236}">
                <a16:creationId xmlns:a16="http://schemas.microsoft.com/office/drawing/2014/main" id="{D938A326-47AF-1531-E144-795B5936F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71448"/>
            <a:ext cx="5958840" cy="30175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B1E31B-6AAD-765E-3C03-630AB909352E}"/>
              </a:ext>
            </a:extLst>
          </p:cNvPr>
          <p:cNvSpPr txBox="1"/>
          <p:nvPr/>
        </p:nvSpPr>
        <p:spPr>
          <a:xfrm>
            <a:off x="660400" y="5286552"/>
            <a:ext cx="108712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CREDENTIAL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[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myCosmosServerCredential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]</a:t>
            </a:r>
            <a:endParaRPr lang="nl-BE" sz="1800" dirty="0">
              <a:effectLst/>
              <a:latin typeface="Courier New" panose="02070309020205020404" pitchFamily="49" charset="0"/>
              <a:ea typeface="Calibri" panose="020F0502020204030204" pitchFamily="34" charset="0"/>
              <a:cs typeface="Lucida Console" panose="020B0609040504020204" pitchFamily="49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  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WITH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IDENTITY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= 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SHARED ACCESS SIGNATURE'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,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SECRET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= 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</a:t>
            </a:r>
            <a:r>
              <a:rPr lang="en-US" sz="180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mysecretkey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</a:t>
            </a:r>
            <a:endParaRPr lang="nl-BE" sz="1800" dirty="0">
              <a:effectLst/>
              <a:latin typeface="Courier New" panose="02070309020205020404" pitchFamily="49" charset="0"/>
              <a:ea typeface="Calibri" panose="020F0502020204030204" pitchFamily="34" charset="0"/>
              <a:cs typeface="Lucida Console" panose="020B0609040504020204" pitchFamily="49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A6501-885F-53A5-02A6-70ACB3D54F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202" y="-166282"/>
            <a:ext cx="2249195" cy="210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5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A16AF-FD8D-7BF1-F3A1-140685EE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t!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8EFF29-E931-8DF7-B662-BF5D69B68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75083"/>
            <a:ext cx="8212350" cy="4527754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FAE6E0D1-904C-ACF7-78CE-C1B7870065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2331" y="0"/>
            <a:ext cx="2602889" cy="260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1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7353-9270-E0B2-20BA-C057E0C4F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pools</a:t>
            </a:r>
            <a:endParaRPr lang="nl-B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3B51B32-52E3-F379-FDCB-C8F5FEA169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52711" y="2857153"/>
            <a:ext cx="5639289" cy="4000847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B5DF729-FE1A-6586-BE1A-220EF19F1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75" y="1538290"/>
            <a:ext cx="6375636" cy="218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057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7353-9270-E0B2-20BA-C057E0C4F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books</a:t>
            </a:r>
            <a:endParaRPr lang="nl-B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10BBF0-9FAA-6DFD-8410-D9B75329C3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289980"/>
            <a:ext cx="10384312" cy="556801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BFB51F7-8307-C161-1F4B-1B731ACBFC57}"/>
              </a:ext>
            </a:extLst>
          </p:cNvPr>
          <p:cNvSpPr/>
          <p:nvPr/>
        </p:nvSpPr>
        <p:spPr>
          <a:xfrm>
            <a:off x="6976922" y="1559560"/>
            <a:ext cx="461331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97D04A-B26E-33E7-545F-671B4C659B26}"/>
              </a:ext>
            </a:extLst>
          </p:cNvPr>
          <p:cNvSpPr/>
          <p:nvPr/>
        </p:nvSpPr>
        <p:spPr>
          <a:xfrm>
            <a:off x="4294682" y="2524760"/>
            <a:ext cx="3955238" cy="341884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3953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645D-FAB7-C5EF-87BE-EBD8A825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ever you do…</a:t>
            </a:r>
            <a:endParaRPr lang="nl-B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45466B-B528-872C-9F41-49BC56537C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29434"/>
            <a:ext cx="10100752" cy="4164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2601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645D-FAB7-C5EF-87BE-EBD8A825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make sure it’s in gi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8EC99-DD31-CA0D-2788-5A6B9158D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1822" y="1429070"/>
            <a:ext cx="5325315" cy="37767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F6BD02-2FA3-FEC7-179E-1722EE0BB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4799" y="5344918"/>
            <a:ext cx="8375350" cy="151308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A8061D6-0EE8-0784-4809-BD435D4BEFA9}"/>
              </a:ext>
            </a:extLst>
          </p:cNvPr>
          <p:cNvSpPr/>
          <p:nvPr/>
        </p:nvSpPr>
        <p:spPr>
          <a:xfrm>
            <a:off x="2933242" y="5886266"/>
            <a:ext cx="116123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A051FF-06EC-D52B-9C54-E479A7001B51}"/>
              </a:ext>
            </a:extLst>
          </p:cNvPr>
          <p:cNvSpPr/>
          <p:nvPr/>
        </p:nvSpPr>
        <p:spPr>
          <a:xfrm>
            <a:off x="1514798" y="5344918"/>
            <a:ext cx="1858321" cy="314202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93170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B9EA-9BBA-BC02-D9E4-C0E244A32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data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E10F7F-A363-E14C-6399-9E5C403C3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499" y="1289981"/>
            <a:ext cx="9022862" cy="5212532"/>
          </a:xfrm>
          <a:prstGeom prst="rect">
            <a:avLst/>
          </a:prstGeom>
        </p:spPr>
      </p:pic>
      <p:pic>
        <p:nvPicPr>
          <p:cNvPr id="1026" name="Picture 2" descr="untappd-vector-logo - Palmer City Alehouse">
            <a:extLst>
              <a:ext uri="{FF2B5EF4-FFF2-40B4-BE49-F238E27FC236}">
                <a16:creationId xmlns:a16="http://schemas.microsoft.com/office/drawing/2014/main" id="{D1CDC254-23C0-72E8-E2A5-6EB31AB29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7361" y="1289981"/>
            <a:ext cx="2867025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71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AFDA15-5602-15BD-1925-9ED49C219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650" y="1301307"/>
            <a:ext cx="10002850" cy="3546454"/>
          </a:xfrm>
        </p:spPr>
        <p:txBody>
          <a:bodyPr>
            <a:normAutofit/>
          </a:bodyPr>
          <a:lstStyle/>
          <a:p>
            <a:r>
              <a:rPr lang="en-US" sz="19900" dirty="0"/>
              <a:t>DEMO</a:t>
            </a:r>
            <a:endParaRPr lang="nl-BE" sz="199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B74547B-B533-5E5B-5554-0666DD8931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108" y="3173368"/>
            <a:ext cx="3799316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64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8EA40A-55AE-2F61-B8BD-2D1919F46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nge behavior?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CABB03-3F0A-3210-041E-1512E208A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487" y="1363882"/>
            <a:ext cx="5707875" cy="22633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6A9EA3-DD7B-F402-1DF2-6B8C8F6937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3962719"/>
            <a:ext cx="5410200" cy="2895281"/>
          </a:xfrm>
          <a:prstGeom prst="rect">
            <a:avLst/>
          </a:prstGeom>
        </p:spPr>
      </p:pic>
      <p:pic>
        <p:nvPicPr>
          <p:cNvPr id="1026" name="Picture 2" descr="Visible Confusion] | Know Your Meme">
            <a:extLst>
              <a:ext uri="{FF2B5EF4-FFF2-40B4-BE49-F238E27FC236}">
                <a16:creationId xmlns:a16="http://schemas.microsoft.com/office/drawing/2014/main" id="{080F0402-E3DC-7D0C-A99B-819E49BA08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920" y="586691"/>
            <a:ext cx="3217333" cy="180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me: &quot;*Internal Confusion*&quot; - All Templates - Meme-arsenal.com">
            <a:extLst>
              <a:ext uri="{FF2B5EF4-FFF2-40B4-BE49-F238E27FC236}">
                <a16:creationId xmlns:a16="http://schemas.microsoft.com/office/drawing/2014/main" id="{842260C5-33E9-D8D6-0656-78C3FDCBE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300" y="2495550"/>
            <a:ext cx="4261841" cy="258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ME IS CONFUSION - Jackie Chan Why? | Make a Meme">
            <a:extLst>
              <a:ext uri="{FF2B5EF4-FFF2-40B4-BE49-F238E27FC236}">
                <a16:creationId xmlns:a16="http://schemas.microsoft.com/office/drawing/2014/main" id="{EE0726A7-AD65-2B3F-3FC2-880821395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2053" y="5174762"/>
            <a:ext cx="2362200" cy="1531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1813E-AC4E-156D-513E-B4D1273EE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TL vs ATTL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8989F-A3E1-D644-8224-576CC0B8F8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0A6B11-9E0B-47CE-13FE-91C0D4E3C1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101" y="1289981"/>
            <a:ext cx="5381797" cy="53817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563DB63-5B38-647D-1C7A-306E7F304D2E}"/>
              </a:ext>
            </a:extLst>
          </p:cNvPr>
          <p:cNvSpPr/>
          <p:nvPr/>
        </p:nvSpPr>
        <p:spPr>
          <a:xfrm>
            <a:off x="6096000" y="2314575"/>
            <a:ext cx="2047875" cy="122872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F2CEAF-1D6E-C531-3503-656D92D07C0F}"/>
              </a:ext>
            </a:extLst>
          </p:cNvPr>
          <p:cNvSpPr/>
          <p:nvPr/>
        </p:nvSpPr>
        <p:spPr>
          <a:xfrm>
            <a:off x="6095999" y="4581282"/>
            <a:ext cx="2047875" cy="122872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230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5D721-C059-5BC2-09E3-906DBD77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se case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053FE2-AD4D-C0F4-C6C9-42C14649B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117" y="1325674"/>
            <a:ext cx="1598971" cy="1465723"/>
          </a:xfrm>
          <a:prstGeom prst="rect">
            <a:avLst/>
          </a:prstGeom>
        </p:spPr>
      </p:pic>
      <p:pic>
        <p:nvPicPr>
          <p:cNvPr id="1026" name="Picture 2" descr="Container free icon">
            <a:extLst>
              <a:ext uri="{FF2B5EF4-FFF2-40B4-BE49-F238E27FC236}">
                <a16:creationId xmlns:a16="http://schemas.microsoft.com/office/drawing/2014/main" id="{49E3E291-8116-6FCC-19DC-D608E4186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2566007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ontainer free icon">
            <a:extLst>
              <a:ext uri="{FF2B5EF4-FFF2-40B4-BE49-F238E27FC236}">
                <a16:creationId xmlns:a16="http://schemas.microsoft.com/office/drawing/2014/main" id="{85A3D76E-3D7D-194B-66C6-6B0707B5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3622974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ontainer free icon">
            <a:extLst>
              <a:ext uri="{FF2B5EF4-FFF2-40B4-BE49-F238E27FC236}">
                <a16:creationId xmlns:a16="http://schemas.microsoft.com/office/drawing/2014/main" id="{E7C305B7-9C2B-70A4-70FD-CF36611D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4679941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81E438-D1FF-9C46-4B44-F28DA18EAA03}"/>
              </a:ext>
            </a:extLst>
          </p:cNvPr>
          <p:cNvSpPr txBox="1"/>
          <p:nvPr/>
        </p:nvSpPr>
        <p:spPr>
          <a:xfrm>
            <a:off x="3947585" y="3438308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A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09CBD-F3EA-8861-751D-E6E2286DB576}"/>
              </a:ext>
            </a:extLst>
          </p:cNvPr>
          <p:cNvSpPr txBox="1"/>
          <p:nvPr/>
        </p:nvSpPr>
        <p:spPr>
          <a:xfrm>
            <a:off x="3947585" y="4495275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B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43110-F8BF-9244-1EFC-D63540EE0FC1}"/>
              </a:ext>
            </a:extLst>
          </p:cNvPr>
          <p:cNvSpPr txBox="1"/>
          <p:nvPr/>
        </p:nvSpPr>
        <p:spPr>
          <a:xfrm>
            <a:off x="3947585" y="5552242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C</a:t>
            </a:r>
            <a:endParaRPr lang="nl-BE" dirty="0"/>
          </a:p>
        </p:txBody>
      </p:sp>
      <p:pic>
        <p:nvPicPr>
          <p:cNvPr id="1028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22246D64-56FA-6463-C9A2-A75612F3A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3492205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8EA490C1-C2A3-7458-1101-E6898B6D5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420134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0645F610-FE3C-E3F7-DB18-4360E1B4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4930202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170EEFF4-F030-3D35-F075-B7FF6C302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565905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CB7373-81AF-1225-1741-6FFDDEA5F59C}"/>
              </a:ext>
            </a:extLst>
          </p:cNvPr>
          <p:cNvCxnSpPr>
            <a:stCxn id="1028" idx="3"/>
            <a:endCxn id="1026" idx="1"/>
          </p:cNvCxnSpPr>
          <p:nvPr/>
        </p:nvCxnSpPr>
        <p:spPr>
          <a:xfrm flipV="1">
            <a:off x="1433328" y="3136278"/>
            <a:ext cx="2514257" cy="7142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9688FEC-A0BE-BB17-E5FB-C3597E502BB0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 flipV="1">
            <a:off x="1791661" y="4193245"/>
            <a:ext cx="2155924" cy="36643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CC0F771-FA89-8459-C5D2-D1AD19389377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 flipV="1">
            <a:off x="1433328" y="5250212"/>
            <a:ext cx="2514257" cy="3832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53C5860-7A00-92D0-3971-0EAABB00D7AC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1791661" y="5250212"/>
            <a:ext cx="2155924" cy="7671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22CE956E-191C-CA98-A2C3-398CAC4B4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3435" y="1188099"/>
            <a:ext cx="5613209" cy="4795090"/>
          </a:xfrm>
          <a:prstGeom prst="rect">
            <a:avLst/>
          </a:prstGeom>
        </p:spPr>
      </p:pic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C2FD7E9-1B3D-553E-368E-4EE99405E447}"/>
              </a:ext>
            </a:extLst>
          </p:cNvPr>
          <p:cNvCxnSpPr>
            <a:stCxn id="5" idx="3"/>
          </p:cNvCxnSpPr>
          <p:nvPr/>
        </p:nvCxnSpPr>
        <p:spPr>
          <a:xfrm flipV="1">
            <a:off x="5088127" y="3492205"/>
            <a:ext cx="1255308" cy="70104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107867-74E5-F839-26FF-3E6F276A2F40}"/>
              </a:ext>
            </a:extLst>
          </p:cNvPr>
          <p:cNvSpPr txBox="1"/>
          <p:nvPr/>
        </p:nvSpPr>
        <p:spPr>
          <a:xfrm>
            <a:off x="4517856" y="6091829"/>
            <a:ext cx="7677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ow are we going to query this data?</a:t>
            </a:r>
            <a:endParaRPr lang="nl-BE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5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3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BE6F6AB-6125-5FAB-F639-AE8ECB1E4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10926B-1E36-30ED-6E0B-93484E28AA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Synapse Serverless SQL Pools is </a:t>
            </a:r>
            <a:r>
              <a:rPr lang="en-US" b="1" dirty="0"/>
              <a:t>NOT AN ETL TOOL</a:t>
            </a:r>
          </a:p>
          <a:p>
            <a:pPr lvl="1"/>
            <a:r>
              <a:rPr lang="en-US" dirty="0"/>
              <a:t>You cannot overwrite an “external table”</a:t>
            </a:r>
          </a:p>
          <a:p>
            <a:pPr lvl="1"/>
            <a:r>
              <a:rPr lang="en-US" dirty="0"/>
              <a:t>Deleting the table first doesn’t work</a:t>
            </a:r>
          </a:p>
          <a:p>
            <a:pPr lvl="1"/>
            <a:endParaRPr lang="en-US" dirty="0"/>
          </a:p>
          <a:p>
            <a:r>
              <a:rPr lang="en-US" dirty="0"/>
              <a:t>There are specific performance optimizations when working with Synapse Link for Azure Cosmos DB</a:t>
            </a:r>
          </a:p>
          <a:p>
            <a:pPr lvl="1"/>
            <a:r>
              <a:rPr lang="en-US" dirty="0"/>
              <a:t>Set database in a UTF-8 collation</a:t>
            </a:r>
          </a:p>
          <a:p>
            <a:pPr lvl="1"/>
            <a:r>
              <a:rPr lang="en-US" dirty="0"/>
              <a:t>Explicitly set schema</a:t>
            </a:r>
          </a:p>
          <a:p>
            <a:pPr lvl="1"/>
            <a:r>
              <a:rPr lang="en-US" dirty="0"/>
              <a:t>Filter data in WHERE clause</a:t>
            </a:r>
          </a:p>
          <a:p>
            <a:pPr lvl="1"/>
            <a:r>
              <a:rPr lang="en-US" dirty="0">
                <a:hlinkClick r:id="rId2"/>
              </a:rPr>
              <a:t>Best practices for integrating serverless SQL pool with Cosmos DB Analytical store via Synapse Link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Optimize database schema in serverless SQL pools using QPI libra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9334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mp the data somewhere else</a:t>
            </a:r>
          </a:p>
          <a:p>
            <a:pPr lvl="1"/>
            <a:r>
              <a:rPr lang="en-US" dirty="0"/>
              <a:t>either by the original process</a:t>
            </a:r>
            <a:endParaRPr lang="nl-BE" dirty="0"/>
          </a:p>
          <a:p>
            <a:pPr lvl="1"/>
            <a:r>
              <a:rPr lang="nl-BE" dirty="0"/>
              <a:t>but </a:t>
            </a:r>
            <a:r>
              <a:rPr lang="nl-BE" dirty="0" err="1"/>
              <a:t>what</a:t>
            </a:r>
            <a:r>
              <a:rPr lang="nl-BE" dirty="0"/>
              <a:t> </a:t>
            </a:r>
            <a:r>
              <a:rPr lang="nl-BE" dirty="0" err="1"/>
              <a:t>about</a:t>
            </a:r>
            <a:r>
              <a:rPr lang="nl-BE" dirty="0"/>
              <a:t> updates/</a:t>
            </a:r>
            <a:r>
              <a:rPr lang="nl-BE" dirty="0" err="1"/>
              <a:t>deletes</a:t>
            </a:r>
            <a:r>
              <a:rPr lang="nl-BE" dirty="0"/>
              <a:t>?</a:t>
            </a:r>
          </a:p>
          <a:p>
            <a:pPr lvl="1"/>
            <a:endParaRPr lang="nl-BE" dirty="0"/>
          </a:p>
          <a:p>
            <a:pPr lvl="1"/>
            <a:r>
              <a:rPr lang="nl-BE" dirty="0" err="1"/>
              <a:t>read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data </a:t>
            </a:r>
            <a:r>
              <a:rPr lang="nl-BE" dirty="0" err="1"/>
              <a:t>with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ETL/ELT tool of </a:t>
            </a:r>
            <a:r>
              <a:rPr lang="nl-BE" dirty="0" err="1"/>
              <a:t>your</a:t>
            </a:r>
            <a:r>
              <a:rPr lang="nl-BE" dirty="0"/>
              <a:t> </a:t>
            </a:r>
            <a:r>
              <a:rPr lang="nl-BE" dirty="0" err="1"/>
              <a:t>choice</a:t>
            </a:r>
            <a:r>
              <a:rPr lang="nl-BE" dirty="0"/>
              <a:t>, </a:t>
            </a:r>
            <a:r>
              <a:rPr lang="nl-BE" dirty="0" err="1"/>
              <a:t>and</a:t>
            </a:r>
            <a:r>
              <a:rPr lang="nl-BE" dirty="0"/>
              <a:t> store </a:t>
            </a:r>
            <a:r>
              <a:rPr lang="nl-BE" dirty="0" err="1"/>
              <a:t>it</a:t>
            </a:r>
            <a:r>
              <a:rPr lang="nl-BE" dirty="0"/>
              <a:t> in a data </a:t>
            </a:r>
            <a:r>
              <a:rPr lang="nl-BE" dirty="0" err="1"/>
              <a:t>lake</a:t>
            </a:r>
            <a:r>
              <a:rPr lang="nl-BE" dirty="0"/>
              <a:t>/</a:t>
            </a:r>
            <a:r>
              <a:rPr lang="nl-BE" dirty="0" err="1"/>
              <a:t>lakehouse</a:t>
            </a:r>
            <a:r>
              <a:rPr lang="nl-BE" dirty="0"/>
              <a:t>/data warehouse/</a:t>
            </a:r>
            <a:r>
              <a:rPr lang="nl-BE" dirty="0" err="1"/>
              <a:t>whatever</a:t>
            </a:r>
            <a:endParaRPr lang="nl-BE" dirty="0"/>
          </a:p>
          <a:p>
            <a:pPr lvl="1"/>
            <a:endParaRPr lang="nl-BE" dirty="0"/>
          </a:p>
          <a:p>
            <a:pPr lvl="1"/>
            <a:r>
              <a:rPr lang="nl-BE" dirty="0"/>
              <a:t>ADF </a:t>
            </a:r>
            <a:r>
              <a:rPr lang="nl-BE" dirty="0" err="1"/>
              <a:t>can</a:t>
            </a:r>
            <a:r>
              <a:rPr lang="nl-BE" dirty="0"/>
              <a:t> have </a:t>
            </a:r>
            <a:r>
              <a:rPr lang="nl-BE" dirty="0" err="1"/>
              <a:t>some</a:t>
            </a:r>
            <a:r>
              <a:rPr lang="nl-BE" dirty="0"/>
              <a:t> </a:t>
            </a:r>
            <a:r>
              <a:rPr lang="nl-BE" dirty="0" err="1"/>
              <a:t>trouble</a:t>
            </a:r>
            <a:r>
              <a:rPr lang="nl-BE" dirty="0"/>
              <a:t> </a:t>
            </a:r>
            <a:r>
              <a:rPr lang="nl-BE" dirty="0" err="1"/>
              <a:t>with</a:t>
            </a:r>
            <a:r>
              <a:rPr lang="nl-BE" dirty="0"/>
              <a:t> complex J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96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zure Synapse Link for Azure Cosmos DB to Azure Data Explorer (preview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153BAF-8983-764D-8E49-87CE29043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2308" y="2122772"/>
            <a:ext cx="7887383" cy="4054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3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7D410-AE9E-9835-AB26-B2FB60011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963794-FC05-A375-A643-969DBC333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’s also ADX pools</a:t>
            </a:r>
            <a:br>
              <a:rPr lang="en-US" dirty="0"/>
            </a:br>
            <a:r>
              <a:rPr lang="en-US" dirty="0"/>
              <a:t>in Azure Synapse (preview)</a:t>
            </a:r>
          </a:p>
          <a:p>
            <a:endParaRPr lang="en-US" dirty="0"/>
          </a:p>
          <a:p>
            <a:r>
              <a:rPr lang="en-US" dirty="0"/>
              <a:t>this scenario isn’t</a:t>
            </a:r>
            <a:br>
              <a:rPr lang="en-US" dirty="0"/>
            </a:br>
            <a:r>
              <a:rPr lang="en-US" dirty="0"/>
              <a:t>supported ye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56DD31-67DC-0598-C87A-9032CC345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0567" y="0"/>
            <a:ext cx="65914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80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6E8ABB-376F-E351-8CD5-3E5474BF8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pic>
        <p:nvPicPr>
          <p:cNvPr id="4" name="Picture 3" descr="configure database options">
            <a:extLst>
              <a:ext uri="{FF2B5EF4-FFF2-40B4-BE49-F238E27FC236}">
                <a16:creationId xmlns:a16="http://schemas.microsoft.com/office/drawing/2014/main" id="{6179BC4B-C709-11C8-0D17-929710544D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78964"/>
            <a:ext cx="4408006" cy="2883535"/>
          </a:xfrm>
          <a:prstGeom prst="rect">
            <a:avLst/>
          </a:prstGeom>
        </p:spPr>
      </p:pic>
      <p:pic>
        <p:nvPicPr>
          <p:cNvPr id="5" name="Picture 4" descr=".create table script in the ADX query editor">
            <a:extLst>
              <a:ext uri="{FF2B5EF4-FFF2-40B4-BE49-F238E27FC236}">
                <a16:creationId xmlns:a16="http://schemas.microsoft.com/office/drawing/2014/main" id="{7FDB537E-B494-AFA1-FDA1-BE852667B1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8128"/>
          <a:stretch/>
        </p:blipFill>
        <p:spPr>
          <a:xfrm>
            <a:off x="5756910" y="559645"/>
            <a:ext cx="5673090" cy="5738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EC8F0-0317-676D-4C2D-D2D9DA735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4606A7-5764-6BCE-CC92-F01CFF50C8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 descr="create table mapping">
            <a:extLst>
              <a:ext uri="{FF2B5EF4-FFF2-40B4-BE49-F238E27FC236}">
                <a16:creationId xmlns:a16="http://schemas.microsoft.com/office/drawing/2014/main" id="{4251B3F3-609F-DFE0-A80B-19CE918593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457011"/>
            <a:ext cx="9629775" cy="5281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18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28558-26AA-373E-C4D6-93E33D501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pic>
        <p:nvPicPr>
          <p:cNvPr id="4" name="Picture 3" descr="create connection to cosmos DB">
            <a:extLst>
              <a:ext uri="{FF2B5EF4-FFF2-40B4-BE49-F238E27FC236}">
                <a16:creationId xmlns:a16="http://schemas.microsoft.com/office/drawing/2014/main" id="{6708A417-4A31-812E-8EDC-5522249738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6389"/>
          <a:stretch/>
        </p:blipFill>
        <p:spPr>
          <a:xfrm>
            <a:off x="838200" y="1491920"/>
            <a:ext cx="5121784" cy="3931920"/>
          </a:xfrm>
          <a:prstGeom prst="rect">
            <a:avLst/>
          </a:prstGeom>
        </p:spPr>
      </p:pic>
      <p:pic>
        <p:nvPicPr>
          <p:cNvPr id="5" name="Content Placeholder 4" descr="configure cosmos db connection in ADX">
            <a:extLst>
              <a:ext uri="{FF2B5EF4-FFF2-40B4-BE49-F238E27FC236}">
                <a16:creationId xmlns:a16="http://schemas.microsoft.com/office/drawing/2014/main" id="{2805BC27-2A5D-C3D0-6F65-7E28C14742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77025" y="0"/>
            <a:ext cx="4552950" cy="691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2E884-9A3F-A4EF-5B3E-055A423F4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ED3154-B76E-4E88-8556-533A77CA0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ata will be imported from the specified start dat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hen it’s imported, you can query it with KQL</a:t>
            </a:r>
            <a:endParaRPr lang="nl-BE" dirty="0"/>
          </a:p>
        </p:txBody>
      </p:sp>
      <p:pic>
        <p:nvPicPr>
          <p:cNvPr id="4" name="Picture 3" descr="database size">
            <a:extLst>
              <a:ext uri="{FF2B5EF4-FFF2-40B4-BE49-F238E27FC236}">
                <a16:creationId xmlns:a16="http://schemas.microsoft.com/office/drawing/2014/main" id="{A52EC96E-97E3-83C4-E6F1-5F6F567788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3251"/>
          <a:stretch/>
        </p:blipFill>
        <p:spPr>
          <a:xfrm>
            <a:off x="838200" y="2323786"/>
            <a:ext cx="7525448" cy="197198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B9F8D3-9B3E-A319-4483-A913A60B2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5018" y="3309780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2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AFDA15-5602-15BD-1925-9ED49C219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650" y="1301307"/>
            <a:ext cx="10002850" cy="3546454"/>
          </a:xfrm>
        </p:spPr>
        <p:txBody>
          <a:bodyPr>
            <a:normAutofit/>
          </a:bodyPr>
          <a:lstStyle/>
          <a:p>
            <a:r>
              <a:rPr lang="en-US" sz="19900" dirty="0"/>
              <a:t>DEMO</a:t>
            </a:r>
            <a:endParaRPr lang="nl-BE" sz="199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512434-404D-3EC9-EDE4-35FB203EEE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6582" y="3354343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99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CCFAD2-636B-5E91-A571-1464AB2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vs ADX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0010B8-D63D-A3C0-10D6-D6A1B3C5B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erless</a:t>
            </a:r>
          </a:p>
          <a:p>
            <a:pPr lvl="1"/>
            <a:r>
              <a:rPr lang="en-US" dirty="0"/>
              <a:t>no size confi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TB scann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QL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data “</a:t>
            </a:r>
            <a:r>
              <a:rPr lang="nl-BE" dirty="0" err="1"/>
              <a:t>stays</a:t>
            </a:r>
            <a:r>
              <a:rPr lang="nl-BE" dirty="0"/>
              <a:t>” in source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analytical</a:t>
            </a:r>
            <a:r>
              <a:rPr lang="nl-BE" dirty="0"/>
              <a:t> store)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ad-hoc analysis</a:t>
            </a:r>
            <a:br>
              <a:rPr lang="nl-BE" dirty="0"/>
            </a:br>
            <a:r>
              <a:rPr lang="nl-BE" dirty="0"/>
              <a:t>pass-</a:t>
            </a:r>
            <a:r>
              <a:rPr lang="nl-BE" dirty="0" err="1"/>
              <a:t>through</a:t>
            </a:r>
            <a:r>
              <a:rPr lang="nl-BE" dirty="0"/>
              <a:t> </a:t>
            </a:r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other</a:t>
            </a:r>
            <a:r>
              <a:rPr lang="nl-BE" dirty="0"/>
              <a:t> too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FBF901-14E6-445D-1507-C19EE3ABC4C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8" y="1457011"/>
            <a:ext cx="6041781" cy="4719952"/>
          </a:xfrm>
        </p:spPr>
        <p:txBody>
          <a:bodyPr/>
          <a:lstStyle/>
          <a:p>
            <a:r>
              <a:rPr lang="en-US" dirty="0"/>
              <a:t>Data Explorer</a:t>
            </a:r>
          </a:p>
          <a:p>
            <a:pPr lvl="1"/>
            <a:r>
              <a:rPr lang="en-US" dirty="0"/>
              <a:t>cluster size is specifi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min cluster is running + storag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KQL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a is copied to ADX - append-only</a:t>
            </a:r>
            <a:br>
              <a:rPr lang="en-US" dirty="0"/>
            </a:br>
            <a:r>
              <a:rPr lang="en-US" dirty="0"/>
              <a:t>(using Azure Cosmos DB change feed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d-hoc analysis</a:t>
            </a:r>
            <a:br>
              <a:rPr lang="en-US" dirty="0"/>
            </a:br>
            <a:r>
              <a:rPr lang="en-US" dirty="0"/>
              <a:t>(can be used as pass-through as well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75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B1167-871C-5E8A-2EA4-953753E50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going to talk about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39355-00AD-61D2-FF68-9A0780804D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zure Cosmos DB recap</a:t>
            </a:r>
          </a:p>
          <a:p>
            <a:endParaRPr lang="en-US" dirty="0"/>
          </a:p>
          <a:p>
            <a:r>
              <a:rPr lang="en-US" dirty="0"/>
              <a:t>the Analytical Store</a:t>
            </a:r>
          </a:p>
          <a:p>
            <a:endParaRPr lang="en-US" dirty="0"/>
          </a:p>
          <a:p>
            <a:r>
              <a:rPr lang="en-US" dirty="0"/>
              <a:t>Azure Synapse Link</a:t>
            </a:r>
          </a:p>
          <a:p>
            <a:endParaRPr lang="en-US" dirty="0"/>
          </a:p>
          <a:p>
            <a:r>
              <a:rPr lang="nl-BE" dirty="0" err="1"/>
              <a:t>alternatives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9424EC-22A4-4DB8-7CA0-78C6D90D0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592" y="3429000"/>
            <a:ext cx="3799316" cy="347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ata flow in ADF (supports CDC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1CBC43-D8D7-6F58-0AAA-F2B3930C23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288" y="2080098"/>
            <a:ext cx="4650142" cy="44540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8210FD-4305-1430-1DEB-372DB9FB0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8919" y="2255373"/>
            <a:ext cx="4954881" cy="427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1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CCFAD2-636B-5E91-A571-1464AB2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vs ADF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0010B8-D63D-A3C0-10D6-D6A1B3C5B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erless</a:t>
            </a:r>
          </a:p>
          <a:p>
            <a:pPr lvl="1"/>
            <a:r>
              <a:rPr lang="en-US" dirty="0"/>
              <a:t>no size confi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TB scann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QL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data “</a:t>
            </a:r>
            <a:r>
              <a:rPr lang="nl-BE" dirty="0" err="1"/>
              <a:t>stays</a:t>
            </a:r>
            <a:r>
              <a:rPr lang="nl-BE" dirty="0"/>
              <a:t>” in source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analytical</a:t>
            </a:r>
            <a:r>
              <a:rPr lang="nl-BE" dirty="0"/>
              <a:t> store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FBF901-14E6-445D-1507-C19EE3ABC4C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8" y="1457011"/>
            <a:ext cx="6041781" cy="4719952"/>
          </a:xfrm>
        </p:spPr>
        <p:txBody>
          <a:bodyPr/>
          <a:lstStyle/>
          <a:p>
            <a:r>
              <a:rPr lang="en-US" dirty="0"/>
              <a:t>ADF data flow</a:t>
            </a:r>
          </a:p>
          <a:p>
            <a:pPr lvl="1"/>
            <a:r>
              <a:rPr lang="en-US" dirty="0"/>
              <a:t>cluster size is specifi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min cluster is runnin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o code (but you can write SQL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a is copied from analytical stor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you need a sink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not</a:t>
            </a:r>
            <a:r>
              <a:rPr lang="nl-BE" dirty="0"/>
              <a:t> a query engin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17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BEFA-B6EE-0CCE-AF17-8BDA41C0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4C1A66-D4BB-B54E-687F-FEC8FC9674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multiple options to read/analyze data from Azure Cosmos DB</a:t>
            </a:r>
          </a:p>
          <a:p>
            <a:endParaRPr lang="en-US" dirty="0"/>
          </a:p>
          <a:p>
            <a:r>
              <a:rPr lang="en-US" dirty="0"/>
              <a:t>either use the analytical store or copy data</a:t>
            </a:r>
          </a:p>
          <a:p>
            <a:endParaRPr lang="en-US" dirty="0"/>
          </a:p>
          <a:p>
            <a:r>
              <a:rPr lang="en-US" dirty="0"/>
              <a:t>cheapest option is probably serverless</a:t>
            </a:r>
          </a:p>
          <a:p>
            <a:endParaRPr lang="en-US" dirty="0"/>
          </a:p>
          <a:p>
            <a:r>
              <a:rPr lang="en-US" dirty="0"/>
              <a:t>but test for your use case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1D53E8-3CA2-A86D-D708-A95646F1C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8317" y="3611518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5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BEFA-B6EE-0CCE-AF17-8BDA41C0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4C1A66-D4BB-B54E-687F-FEC8FC9674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zure Cosmos DB Learning Path</a:t>
            </a:r>
            <a:endParaRPr lang="nl-BE" dirty="0"/>
          </a:p>
          <a:p>
            <a:r>
              <a:rPr lang="en-US" dirty="0">
                <a:hlinkClick r:id="rId3"/>
              </a:rPr>
              <a:t>How to Install </a:t>
            </a:r>
            <a:r>
              <a:rPr lang="en-US" dirty="0" err="1">
                <a:hlinkClick r:id="rId3"/>
              </a:rPr>
              <a:t>Cosmicworks</a:t>
            </a:r>
            <a:r>
              <a:rPr lang="en-US" dirty="0">
                <a:hlinkClick r:id="rId3"/>
              </a:rPr>
              <a:t> Sample Database in Azure Cosmos DB</a:t>
            </a:r>
            <a:endParaRPr lang="nl-BE" dirty="0"/>
          </a:p>
          <a:p>
            <a:r>
              <a:rPr lang="en-US" dirty="0">
                <a:hlinkClick r:id="rId4"/>
              </a:rPr>
              <a:t>What is Azure Cosmos DB analytical store?</a:t>
            </a:r>
            <a:endParaRPr lang="nl-BE" dirty="0"/>
          </a:p>
          <a:p>
            <a:r>
              <a:rPr lang="nl-BE" dirty="0" err="1">
                <a:hlinkClick r:id="rId5"/>
              </a:rPr>
              <a:t>Analyze</a:t>
            </a:r>
            <a:r>
              <a:rPr lang="nl-BE" dirty="0">
                <a:hlinkClick r:id="rId5"/>
              </a:rPr>
              <a:t> Azure </a:t>
            </a:r>
            <a:r>
              <a:rPr lang="nl-BE" dirty="0" err="1">
                <a:hlinkClick r:id="rId5"/>
              </a:rPr>
              <a:t>Cosmos</a:t>
            </a:r>
            <a:r>
              <a:rPr lang="nl-BE" dirty="0">
                <a:hlinkClick r:id="rId5"/>
              </a:rPr>
              <a:t> DB data </a:t>
            </a:r>
            <a:r>
              <a:rPr lang="nl-BE" dirty="0" err="1">
                <a:hlinkClick r:id="rId5"/>
              </a:rPr>
              <a:t>with</a:t>
            </a:r>
            <a:r>
              <a:rPr lang="nl-BE" dirty="0">
                <a:hlinkClick r:id="rId5"/>
              </a:rPr>
              <a:t> </a:t>
            </a:r>
            <a:r>
              <a:rPr lang="nl-BE" dirty="0" err="1">
                <a:hlinkClick r:id="rId5"/>
              </a:rPr>
              <a:t>Synapse</a:t>
            </a:r>
            <a:r>
              <a:rPr lang="nl-BE" dirty="0">
                <a:hlinkClick r:id="rId5"/>
              </a:rPr>
              <a:t> </a:t>
            </a:r>
            <a:r>
              <a:rPr lang="nl-BE" dirty="0" err="1">
                <a:hlinkClick r:id="rId5"/>
              </a:rPr>
              <a:t>Serverless</a:t>
            </a:r>
            <a:r>
              <a:rPr lang="nl-BE" dirty="0">
                <a:hlinkClick r:id="rId5"/>
              </a:rPr>
              <a:t> SQL Pools</a:t>
            </a:r>
            <a:endParaRPr lang="nl-BE" dirty="0"/>
          </a:p>
          <a:p>
            <a:r>
              <a:rPr lang="pt-BR" dirty="0">
                <a:hlinkClick r:id="rId6"/>
              </a:rPr>
              <a:t>Azure Cosmos DB to Azure Data Explorer Synapse Link – YouTube</a:t>
            </a:r>
            <a:endParaRPr lang="pt-BR" dirty="0"/>
          </a:p>
          <a:p>
            <a:r>
              <a:rPr lang="nl-BE" dirty="0" err="1">
                <a:hlinkClick r:id="rId7"/>
              </a:rPr>
              <a:t>Cosmos</a:t>
            </a:r>
            <a:r>
              <a:rPr lang="nl-BE" dirty="0">
                <a:hlinkClick r:id="rId7"/>
              </a:rPr>
              <a:t> Down Under – Podcast</a:t>
            </a:r>
            <a:endParaRPr lang="nl-BE" dirty="0"/>
          </a:p>
          <a:p>
            <a:r>
              <a:rPr lang="en-US" dirty="0">
                <a:hlinkClick r:id="rId8"/>
              </a:rPr>
              <a:t>Capture Changed Data From your Cosmos DB analytical store (ADF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9737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651ED64-D411-47B5-9475-FB1B7E974F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d please give feedback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2DBC68-17CA-32D5-9A16-D60FDEAE0A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692" y="3325768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9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iagram showing various NoSQL models including; a key-value, document, graph, and column-family store">
            <a:extLst>
              <a:ext uri="{FF2B5EF4-FFF2-40B4-BE49-F238E27FC236}">
                <a16:creationId xmlns:a16="http://schemas.microsoft.com/office/drawing/2014/main" id="{683B4DC2-DE78-6B3F-685A-6F0E9CCE6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385" y="754019"/>
            <a:ext cx="9045615" cy="542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36A5224-856C-300B-25B2-F7EF5DF69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2601" y="1580317"/>
            <a:ext cx="1598971" cy="14657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C908F2B-3020-2DD8-2FE6-D82F148A8714}"/>
              </a:ext>
            </a:extLst>
          </p:cNvPr>
          <p:cNvSpPr/>
          <p:nvPr/>
        </p:nvSpPr>
        <p:spPr>
          <a:xfrm>
            <a:off x="5972538" y="920186"/>
            <a:ext cx="3507129" cy="291066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F78FF41-41D2-2B81-8E36-AA64893D4CF9}"/>
              </a:ext>
            </a:extLst>
          </p:cNvPr>
          <p:cNvCxnSpPr>
            <a:cxnSpLocks/>
          </p:cNvCxnSpPr>
          <p:nvPr/>
        </p:nvCxnSpPr>
        <p:spPr>
          <a:xfrm rot="10800000" flipV="1">
            <a:off x="3146386" y="3830843"/>
            <a:ext cx="2826153" cy="1643981"/>
          </a:xfrm>
          <a:prstGeom prst="bentConnector3">
            <a:avLst>
              <a:gd name="adj1" fmla="val 34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BEB7DAF-C611-B039-8270-65A58C5208FE}"/>
              </a:ext>
            </a:extLst>
          </p:cNvPr>
          <p:cNvSpPr txBox="1"/>
          <p:nvPr/>
        </p:nvSpPr>
        <p:spPr>
          <a:xfrm>
            <a:off x="1484213" y="5182437"/>
            <a:ext cx="2021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SQL API</a:t>
            </a:r>
            <a:endParaRPr lang="nl-BE" sz="3200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CD8D8-31E2-21D3-1818-56A11FD3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Cosmos DB</a:t>
            </a:r>
            <a:endParaRPr lang="nl-B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9AC33E-345B-312F-1CBF-F564B067B033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ntroduction-to-azure-cosmos-db-sql-api/2-what-azure-cosmos-db-sql-api</a:t>
            </a:r>
          </a:p>
        </p:txBody>
      </p:sp>
    </p:spTree>
    <p:extLst>
      <p:ext uri="{BB962C8B-B14F-4D97-AF65-F5344CB8AC3E}">
        <p14:creationId xmlns:p14="http://schemas.microsoft.com/office/powerpoint/2010/main" val="163484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iagram showing how an Azure Cosmos DB for NoSQL account is the parent resource to a database, which is itself a parent resource to a container">
            <a:extLst>
              <a:ext uri="{FF2B5EF4-FFF2-40B4-BE49-F238E27FC236}">
                <a16:creationId xmlns:a16="http://schemas.microsoft.com/office/drawing/2014/main" id="{8FBCEF06-BAA1-67C6-7A50-F4C6586226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83" y="1442210"/>
            <a:ext cx="5869352" cy="456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18D12-52DD-44A1-E4AD-640CDC7F9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API - structure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7814-F50F-4E1E-23E6-0EB9B891E453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ntroduction-to-azure-cosmos-db-sql-api/3-how-does-wor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3646A4-A4D9-4850-F406-04F7ADA79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2405" y="2222767"/>
            <a:ext cx="3960448" cy="339467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6028769-BC4D-8440-7969-B9824894FF71}"/>
              </a:ext>
            </a:extLst>
          </p:cNvPr>
          <p:cNvCxnSpPr>
            <a:cxnSpLocks/>
          </p:cNvCxnSpPr>
          <p:nvPr/>
        </p:nvCxnSpPr>
        <p:spPr>
          <a:xfrm flipV="1">
            <a:off x="6261903" y="2870522"/>
            <a:ext cx="1770927" cy="224548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799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A6AA0D-C38C-BADF-8E5C-1D96932CA9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659879"/>
            <a:ext cx="11887200" cy="48577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B354FA-2FF1-E3BB-6DB5-C71D3656EAD9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270985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6146" name="Picture 2" descr="Throughput provisioned at database level">
            <a:extLst>
              <a:ext uri="{FF2B5EF4-FFF2-40B4-BE49-F238E27FC236}">
                <a16:creationId xmlns:a16="http://schemas.microsoft.com/office/drawing/2014/main" id="{7A12A3C6-6613-E4B4-EC22-7F42A6102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648307"/>
            <a:ext cx="11887200" cy="48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E9B2AF-76F8-252A-9432-CA9D6A2E6128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185576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C37536-7780-0046-6544-ED65790FF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752479"/>
            <a:ext cx="11887200" cy="48577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DA9D926-BCFF-AE82-E695-876B249D5ECA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39406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chorama 2023.potx" id="{696B3632-8CD4-4C38-A82A-1E22D574E3AF}" vid="{168EE160-010E-468C-91F4-0DD5C0EB717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E_PPT_Template_Final</Template>
  <TotalTime>13543</TotalTime>
  <Words>741</Words>
  <Application>Microsoft Office PowerPoint</Application>
  <PresentationFormat>Widescreen</PresentationFormat>
  <Paragraphs>159</Paragraphs>
  <Slides>4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5" baseType="lpstr">
      <vt:lpstr>Arial</vt:lpstr>
      <vt:lpstr>Calibri</vt:lpstr>
      <vt:lpstr>Calibri Light</vt:lpstr>
      <vt:lpstr>Century Gothic</vt:lpstr>
      <vt:lpstr>Century Gothic Bold</vt:lpstr>
      <vt:lpstr>Courier New</vt:lpstr>
      <vt:lpstr>mastodon-font-sans-serif</vt:lpstr>
      <vt:lpstr>Possum Saltare NF</vt:lpstr>
      <vt:lpstr>AE Template</vt:lpstr>
      <vt:lpstr>Office Theme</vt:lpstr>
      <vt:lpstr>think-cell Slide</vt:lpstr>
      <vt:lpstr>Analyzing Azure Cosmos DB Data</vt:lpstr>
      <vt:lpstr>contact</vt:lpstr>
      <vt:lpstr>the use case</vt:lpstr>
      <vt:lpstr>what are we going to talk about</vt:lpstr>
      <vt:lpstr>Azure Cosmos DB</vt:lpstr>
      <vt:lpstr>SQL API - structure</vt:lpstr>
      <vt:lpstr>throughput</vt:lpstr>
      <vt:lpstr>throughput</vt:lpstr>
      <vt:lpstr>throughput</vt:lpstr>
      <vt:lpstr>partition key</vt:lpstr>
      <vt:lpstr>indexing</vt:lpstr>
      <vt:lpstr>indexing policy</vt:lpstr>
      <vt:lpstr>change feed</vt:lpstr>
      <vt:lpstr>pricing</vt:lpstr>
      <vt:lpstr>the use case</vt:lpstr>
      <vt:lpstr>analytical store</vt:lpstr>
      <vt:lpstr>enable analytical store</vt:lpstr>
      <vt:lpstr>connect to external data</vt:lpstr>
      <vt:lpstr>serverless SQL pools</vt:lpstr>
      <vt:lpstr>create credential</vt:lpstr>
      <vt:lpstr>profit!</vt:lpstr>
      <vt:lpstr>Spark pools</vt:lpstr>
      <vt:lpstr>notebooks</vt:lpstr>
      <vt:lpstr>whatever you do…</vt:lpstr>
      <vt:lpstr>… make sure it’s in git</vt:lpstr>
      <vt:lpstr>demo data</vt:lpstr>
      <vt:lpstr>DEMO</vt:lpstr>
      <vt:lpstr>strange behavior?</vt:lpstr>
      <vt:lpstr>TTL vs ATTL</vt:lpstr>
      <vt:lpstr>conclusion</vt:lpstr>
      <vt:lpstr>alternatives</vt:lpstr>
      <vt:lpstr>alternatives</vt:lpstr>
      <vt:lpstr>ADX</vt:lpstr>
      <vt:lpstr>ADX</vt:lpstr>
      <vt:lpstr>ADX</vt:lpstr>
      <vt:lpstr>ADX</vt:lpstr>
      <vt:lpstr>ADX</vt:lpstr>
      <vt:lpstr>DEMO</vt:lpstr>
      <vt:lpstr>Serverless vs ADX</vt:lpstr>
      <vt:lpstr>alternatives</vt:lpstr>
      <vt:lpstr>Serverless vs ADF</vt:lpstr>
      <vt:lpstr>conclusion</vt:lpstr>
      <vt:lpstr>resources</vt:lpstr>
      <vt:lpstr>PowerPoint Presentation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tical Queries on Azure Cosmos DB</dc:title>
  <dc:creator>Koen Verbeeck</dc:creator>
  <cp:lastModifiedBy>Koen Verbeeck</cp:lastModifiedBy>
  <cp:revision>2</cp:revision>
  <dcterms:created xsi:type="dcterms:W3CDTF">2022-11-22T09:27:10Z</dcterms:created>
  <dcterms:modified xsi:type="dcterms:W3CDTF">2023-06-06T14:18:07Z</dcterms:modified>
</cp:coreProperties>
</file>